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82" d="100"/>
          <a:sy n="82" d="100"/>
        </p:scale>
        <p:origin x="69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Απολογιστικά στοιχεία ρυθμίσεων εξωδικαστικού </a:t>
            </a:r>
            <a:br>
              <a:rPr lang="el-GR" sz="4400" b="1" dirty="0">
                <a:solidFill>
                  <a:srgbClr val="FFFFFF"/>
                </a:solidFill>
                <a:latin typeface="+mn-lt"/>
              </a:rPr>
            </a:br>
            <a:r>
              <a:rPr lang="el-GR" sz="4400" b="1" dirty="0">
                <a:solidFill>
                  <a:srgbClr val="FFFFFF"/>
                </a:solidFill>
                <a:latin typeface="+mn-lt"/>
              </a:rPr>
              <a:t>2024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432381" y="332751"/>
            <a:ext cx="8603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Ραγδαία η άνοδος των ρυθμίσεων του εξωδικαστικού μηχανισμού το 2024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Πραγματοποιήθηκαν 16.903 ρυθμίσεις ύψους αρχικών οφειλών €5,13 δις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1073" y="1785257"/>
            <a:ext cx="3054344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200" b="1" dirty="0">
                <a:solidFill>
                  <a:schemeClr val="bg1"/>
                </a:solidFill>
                <a:latin typeface="+mn-lt"/>
              </a:rPr>
              <a:t>Ραγδαία άνοδος το 2024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8385" y="1515088"/>
            <a:ext cx="7381875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307980"/>
            <a:ext cx="83511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Η μηνιαία αποτύπωση των ρυθμίσεων δείχνει τα υψηλά επίπεδα και την αποδοτικότητα των συνεχών βελτιωτικών νομοθετικών κινήσε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ιστορικό υψηλό σημειώθηκε τον Νοέμβριο </a:t>
            </a:r>
            <a:r>
              <a:rPr lang="el-GR"/>
              <a:t>του 2024, </a:t>
            </a:r>
            <a:r>
              <a:rPr lang="el-GR" dirty="0"/>
              <a:t>τόσο σε πλήθος ρυθμίσεων (1.989) όσο και σε σύνολο οφειλών (€602,78 εκ.)  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rgbClr val="FFFFFF"/>
                </a:solidFill>
                <a:latin typeface="+mn-lt"/>
              </a:rPr>
              <a:t>Μηνιαία αποτύπωση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6792" y="1855233"/>
            <a:ext cx="9055584" cy="3455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4</TotalTime>
  <Words>92</Words>
  <Application>Microsoft Office PowerPoint</Application>
  <PresentationFormat>Ευρεία οθόνη</PresentationFormat>
  <Paragraphs>12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Απολογιστικά στοιχεία ρυθμίσεων εξωδικαστικού  2024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Nikos Maheras</cp:lastModifiedBy>
  <cp:revision>74</cp:revision>
  <dcterms:created xsi:type="dcterms:W3CDTF">2024-06-03T14:29:32Z</dcterms:created>
  <dcterms:modified xsi:type="dcterms:W3CDTF">2025-01-13T13:31:58Z</dcterms:modified>
</cp:coreProperties>
</file>